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044" r:id="rId1"/>
  </p:sldMasterIdLst>
  <p:notesMasterIdLst>
    <p:notesMasterId r:id="rId3"/>
  </p:notesMasterIdLst>
  <p:handoutMasterIdLst>
    <p:handoutMasterId r:id="rId4"/>
  </p:handoutMasterIdLst>
  <p:sldIdLst>
    <p:sldId id="5175" r:id="rId2"/>
  </p:sldIdLst>
  <p:sldSz cx="9906000" cy="6858000" type="A4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i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74" userDrawn="1">
          <p15:clr>
            <a:srgbClr val="A4A3A4"/>
          </p15:clr>
        </p15:guide>
        <p15:guide id="4" pos="3846" userDrawn="1">
          <p15:clr>
            <a:srgbClr val="A4A3A4"/>
          </p15:clr>
        </p15:guide>
        <p15:guide id="5" pos="6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336600"/>
    <a:srgbClr val="0000FF"/>
    <a:srgbClr val="FF6500"/>
    <a:srgbClr val="33CC33"/>
    <a:srgbClr val="CC3300"/>
    <a:srgbClr val="FF9900"/>
    <a:srgbClr val="FF9966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047" autoAdjust="0"/>
    <p:restoredTop sz="95285" autoAdjust="0"/>
  </p:normalViewPr>
  <p:slideViewPr>
    <p:cSldViewPr snapToGrid="0" showGuides="1">
      <p:cViewPr varScale="1">
        <p:scale>
          <a:sx n="95" d="100"/>
          <a:sy n="95" d="100"/>
        </p:scale>
        <p:origin x="859" y="72"/>
      </p:cViewPr>
      <p:guideLst>
        <p:guide orient="horz" pos="1774"/>
        <p:guide pos="3846"/>
        <p:guide pos="6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-1588"/>
            <a:ext cx="3074988" cy="51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t" anchorCtr="0" compatLnSpc="1">
            <a:prstTxWarp prst="textNoShape">
              <a:avLst/>
            </a:prstTxWarp>
          </a:bodyPr>
          <a:lstStyle>
            <a:lvl1pPr defTabSz="795338">
              <a:defRPr sz="1000">
                <a:latin typeface="Helvetic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313" y="-1588"/>
            <a:ext cx="3074987" cy="51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t" anchorCtr="0" compatLnSpc="1">
            <a:prstTxWarp prst="textNoShape">
              <a:avLst/>
            </a:prstTxWarp>
          </a:bodyPr>
          <a:lstStyle>
            <a:lvl1pPr algn="r" defTabSz="795338">
              <a:defRPr sz="1000">
                <a:latin typeface="Helvetic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438"/>
            <a:ext cx="307498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b" anchorCtr="0" compatLnSpc="1">
            <a:prstTxWarp prst="textNoShape">
              <a:avLst/>
            </a:prstTxWarp>
          </a:bodyPr>
          <a:lstStyle>
            <a:lvl1pPr defTabSz="795338">
              <a:defRPr sz="1000">
                <a:latin typeface="Helvetica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b" anchorCtr="0" compatLnSpc="1">
            <a:prstTxWarp prst="textNoShape">
              <a:avLst/>
            </a:prstTxWarp>
          </a:bodyPr>
          <a:lstStyle>
            <a:lvl1pPr algn="r" defTabSz="795338">
              <a:defRPr sz="1000">
                <a:latin typeface="Helvetica" pitchFamily="34" charset="0"/>
              </a:defRPr>
            </a:lvl1pPr>
          </a:lstStyle>
          <a:p>
            <a:pPr>
              <a:defRPr/>
            </a:pPr>
            <a:fld id="{33C5FEA5-C4D0-4809-A98C-A7567BF7B81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-1588"/>
            <a:ext cx="3074988" cy="51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t" anchorCtr="0" compatLnSpc="1">
            <a:prstTxWarp prst="textNoShape">
              <a:avLst/>
            </a:prstTxWarp>
          </a:bodyPr>
          <a:lstStyle>
            <a:lvl1pPr defTabSz="795338">
              <a:defRPr sz="10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313" y="-1588"/>
            <a:ext cx="3074987" cy="51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t" anchorCtr="0" compatLnSpc="1">
            <a:prstTxWarp prst="textNoShape">
              <a:avLst/>
            </a:prstTxWarp>
          </a:bodyPr>
          <a:lstStyle>
            <a:lvl1pPr algn="r" defTabSz="795338">
              <a:defRPr sz="10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498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b" anchorCtr="0" compatLnSpc="1">
            <a:prstTxWarp prst="textNoShape">
              <a:avLst/>
            </a:prstTxWarp>
          </a:bodyPr>
          <a:lstStyle>
            <a:lvl1pPr defTabSz="795338">
              <a:defRPr sz="10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923" tIns="0" rIns="19923" bIns="0" numCol="1" anchor="b" anchorCtr="0" compatLnSpc="1">
            <a:prstTxWarp prst="textNoShape">
              <a:avLst/>
            </a:prstTxWarp>
          </a:bodyPr>
          <a:lstStyle>
            <a:lvl1pPr algn="r" defTabSz="795338">
              <a:defRPr sz="1000">
                <a:latin typeface="Times New Roman" pitchFamily="18" charset="0"/>
              </a:defRPr>
            </a:lvl1pPr>
          </a:lstStyle>
          <a:p>
            <a:pPr>
              <a:defRPr/>
            </a:pPr>
            <a:fld id="{E985D210-D52E-4712-9672-53A387B94EE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87913"/>
            <a:ext cx="5205413" cy="454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295" tIns="48148" rIns="96295" bIns="481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54631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7400" y="774700"/>
            <a:ext cx="5524500" cy="382428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S 47 CondensedLight" pitchFamily="2" charset="0"/>
        <a:ea typeface="+mn-ea"/>
        <a:cs typeface="+mn-cs"/>
      </a:defRPr>
    </a:lvl1pPr>
    <a:lvl2pPr marL="4572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S 47 CondensedLight" pitchFamily="2" charset="0"/>
        <a:ea typeface="+mn-ea"/>
        <a:cs typeface="+mn-cs"/>
      </a:defRPr>
    </a:lvl2pPr>
    <a:lvl3pPr marL="9144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S 47 CondensedLight" pitchFamily="2" charset="0"/>
        <a:ea typeface="+mn-ea"/>
        <a:cs typeface="+mn-cs"/>
      </a:defRPr>
    </a:lvl3pPr>
    <a:lvl4pPr marL="13716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S 47 CondensedLight" pitchFamily="2" charset="0"/>
        <a:ea typeface="+mn-ea"/>
        <a:cs typeface="+mn-cs"/>
      </a:defRPr>
    </a:lvl4pPr>
    <a:lvl5pPr marL="18288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S 47 Condensed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317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32890" y="478972"/>
            <a:ext cx="8944486" cy="1079829"/>
          </a:xfrm>
        </p:spPr>
        <p:txBody>
          <a:bodyPr anchor="t"/>
          <a:lstStyle>
            <a:lvl1pPr>
              <a:lnSpc>
                <a:spcPts val="4431"/>
              </a:lnSpc>
              <a:defRPr sz="3200" baseline="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 flipV="1">
            <a:off x="505619" y="404813"/>
            <a:ext cx="8892000" cy="0"/>
          </a:xfrm>
          <a:prstGeom prst="line">
            <a:avLst/>
          </a:prstGeom>
          <a:noFill/>
          <a:ln w="508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532890" y="6381685"/>
            <a:ext cx="975121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de-DE" sz="800" i="0" dirty="0">
                <a:solidFill>
                  <a:srgbClr val="A8AFAF"/>
                </a:solidFill>
                <a:latin typeface="Frutiger LT Com 55 Roman" pitchFamily="34" charset="0"/>
              </a:rPr>
              <a:t>© Fraunhofer SCS </a:t>
            </a:r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 flipV="1">
            <a:off x="508381" y="6294170"/>
            <a:ext cx="8892000" cy="0"/>
          </a:xfrm>
          <a:prstGeom prst="line">
            <a:avLst/>
          </a:prstGeom>
          <a:noFill/>
          <a:ln w="3175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pic>
        <p:nvPicPr>
          <p:cNvPr id="11" name="Picture 6" descr="ii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844" y="6368359"/>
            <a:ext cx="151341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08381" y="1792514"/>
            <a:ext cx="8969391" cy="700357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6" name="Line 13"/>
          <p:cNvSpPr>
            <a:spLocks noChangeShapeType="1"/>
          </p:cNvSpPr>
          <p:nvPr userDrawn="1"/>
        </p:nvSpPr>
        <p:spPr bwMode="auto">
          <a:xfrm>
            <a:off x="505619" y="2492870"/>
            <a:ext cx="8892000" cy="0"/>
          </a:xfrm>
          <a:prstGeom prst="line">
            <a:avLst/>
          </a:prstGeom>
          <a:noFill/>
          <a:ln w="127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1"/>
          </p:nvPr>
        </p:nvSpPr>
        <p:spPr>
          <a:xfrm>
            <a:off x="513481" y="2670175"/>
            <a:ext cx="8891323" cy="36020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3162" y="258765"/>
            <a:ext cx="8907538" cy="809625"/>
          </a:xfrm>
        </p:spPr>
        <p:txBody>
          <a:bodyPr/>
          <a:lstStyle/>
          <a:p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45 Light"/>
                <a:ea typeface="+mj-ea"/>
                <a:cs typeface="+mj-cs"/>
              </a:rPr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8886" y="1270001"/>
            <a:ext cx="4542065" cy="5002213"/>
          </a:xfrm>
        </p:spPr>
        <p:txBody>
          <a:bodyPr/>
          <a:lstStyle>
            <a:lvl1pPr marL="36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lvl1pPr>
            <a:lvl2pPr marL="72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2pPr>
            <a:lvl3pPr marL="108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3pPr>
            <a:lvl4pPr marL="144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4pPr>
            <a:lvl5pPr marL="180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5pPr>
          </a:lstStyle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  <a:p>
            <a:pPr lvl="0"/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</p:nvPr>
        </p:nvSpPr>
        <p:spPr>
          <a:xfrm>
            <a:off x="5213350" y="1271369"/>
            <a:ext cx="4189488" cy="2429775"/>
          </a:xfrm>
        </p:spPr>
        <p:txBody>
          <a:bodyPr/>
          <a:lstStyle>
            <a:lvl1pPr marL="36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lvl1pPr>
            <a:lvl2pPr marL="72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2pPr>
            <a:lvl3pPr marL="108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3pPr>
            <a:lvl4pPr marL="144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4pPr>
            <a:lvl5pPr marL="180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5pPr>
          </a:lstStyle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  <a:p>
            <a:pPr lvl="0"/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 hasCustomPrompt="1"/>
          </p:nvPr>
        </p:nvSpPr>
        <p:spPr>
          <a:xfrm>
            <a:off x="5213350" y="3839030"/>
            <a:ext cx="4189488" cy="2433185"/>
          </a:xfrm>
        </p:spPr>
        <p:txBody>
          <a:bodyPr/>
          <a:lstStyle>
            <a:lvl1pPr marL="36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lvl1pPr>
            <a:lvl2pPr marL="72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2pPr>
            <a:lvl3pPr marL="108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3pPr>
            <a:lvl4pPr marL="144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4pPr>
            <a:lvl5pPr marL="180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lvl5pPr>
          </a:lstStyle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317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32890" y="478972"/>
            <a:ext cx="8944486" cy="1079829"/>
          </a:xfrm>
        </p:spPr>
        <p:txBody>
          <a:bodyPr anchor="t"/>
          <a:lstStyle>
            <a:lvl1pPr>
              <a:lnSpc>
                <a:spcPts val="4431"/>
              </a:lnSpc>
              <a:defRPr sz="3200" baseline="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 flipV="1">
            <a:off x="505619" y="404813"/>
            <a:ext cx="8892000" cy="0"/>
          </a:xfrm>
          <a:prstGeom prst="line">
            <a:avLst/>
          </a:prstGeom>
          <a:noFill/>
          <a:ln w="508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532890" y="6381685"/>
            <a:ext cx="975121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de-DE" sz="800" i="0" dirty="0">
                <a:solidFill>
                  <a:srgbClr val="A8AFAF"/>
                </a:solidFill>
                <a:latin typeface="Frutiger LT Com 55 Roman" pitchFamily="34" charset="0"/>
              </a:rPr>
              <a:t>© Fraunhofer SCS </a:t>
            </a:r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 flipV="1">
            <a:off x="508381" y="6294170"/>
            <a:ext cx="8892000" cy="0"/>
          </a:xfrm>
          <a:prstGeom prst="line">
            <a:avLst/>
          </a:prstGeom>
          <a:noFill/>
          <a:ln w="3175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pic>
        <p:nvPicPr>
          <p:cNvPr id="11" name="Picture 6" descr="ii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844" y="6368359"/>
            <a:ext cx="151341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Line 13"/>
          <p:cNvSpPr>
            <a:spLocks noChangeShapeType="1"/>
          </p:cNvSpPr>
          <p:nvPr userDrawn="1"/>
        </p:nvSpPr>
        <p:spPr bwMode="auto">
          <a:xfrm>
            <a:off x="505619" y="1568945"/>
            <a:ext cx="8892000" cy="0"/>
          </a:xfrm>
          <a:prstGeom prst="line">
            <a:avLst/>
          </a:prstGeom>
          <a:noFill/>
          <a:ln w="127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756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3170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32890" y="478972"/>
            <a:ext cx="8944486" cy="1079829"/>
          </a:xfrm>
        </p:spPr>
        <p:txBody>
          <a:bodyPr anchor="t"/>
          <a:lstStyle>
            <a:lvl1pPr>
              <a:lnSpc>
                <a:spcPts val="4431"/>
              </a:lnSpc>
              <a:defRPr sz="3200" baseline="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3-Zeilig</a:t>
            </a:r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 flipV="1">
            <a:off x="505619" y="404813"/>
            <a:ext cx="8892000" cy="0"/>
          </a:xfrm>
          <a:prstGeom prst="line">
            <a:avLst/>
          </a:prstGeom>
          <a:noFill/>
          <a:ln w="508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532890" y="6381685"/>
            <a:ext cx="975121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de-DE" sz="800" i="0" dirty="0">
                <a:solidFill>
                  <a:srgbClr val="A8AFAF"/>
                </a:solidFill>
                <a:latin typeface="Frutiger LT Com 55 Roman" pitchFamily="34" charset="0"/>
              </a:rPr>
              <a:t>© Fraunhofer SCS </a:t>
            </a:r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 flipV="1">
            <a:off x="508381" y="6294170"/>
            <a:ext cx="8892000" cy="0"/>
          </a:xfrm>
          <a:prstGeom prst="line">
            <a:avLst/>
          </a:prstGeom>
          <a:noFill/>
          <a:ln w="3175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pic>
        <p:nvPicPr>
          <p:cNvPr id="11" name="Picture 6" descr="ii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844" y="6368359"/>
            <a:ext cx="151341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Line 13"/>
          <p:cNvSpPr>
            <a:spLocks noChangeShapeType="1"/>
          </p:cNvSpPr>
          <p:nvPr userDrawn="1"/>
        </p:nvSpPr>
        <p:spPr bwMode="auto">
          <a:xfrm>
            <a:off x="505619" y="2154733"/>
            <a:ext cx="8892000" cy="0"/>
          </a:xfrm>
          <a:prstGeom prst="line">
            <a:avLst/>
          </a:prstGeom>
          <a:noFill/>
          <a:ln w="127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130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2"/>
          <p:cNvSpPr>
            <a:spLocks noChangeShapeType="1"/>
          </p:cNvSpPr>
          <p:nvPr userDrawn="1"/>
        </p:nvSpPr>
        <p:spPr bwMode="auto">
          <a:xfrm flipV="1">
            <a:off x="505619" y="404813"/>
            <a:ext cx="8892000" cy="0"/>
          </a:xfrm>
          <a:prstGeom prst="line">
            <a:avLst/>
          </a:prstGeom>
          <a:noFill/>
          <a:ln w="508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505619" y="1568945"/>
            <a:ext cx="8892000" cy="0"/>
          </a:xfrm>
          <a:prstGeom prst="line">
            <a:avLst/>
          </a:prstGeom>
          <a:noFill/>
          <a:ln w="127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32890" y="478972"/>
            <a:ext cx="8944486" cy="1079829"/>
          </a:xfrm>
        </p:spPr>
        <p:txBody>
          <a:bodyPr anchor="t"/>
          <a:lstStyle>
            <a:lvl1pPr>
              <a:lnSpc>
                <a:spcPts val="4431"/>
              </a:lnSpc>
              <a:defRPr sz="3200" baseline="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Unterseiten 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057594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2"/>
          <p:cNvSpPr>
            <a:spLocks noChangeShapeType="1"/>
          </p:cNvSpPr>
          <p:nvPr userDrawn="1"/>
        </p:nvSpPr>
        <p:spPr bwMode="auto">
          <a:xfrm flipV="1">
            <a:off x="505619" y="404813"/>
            <a:ext cx="8892000" cy="0"/>
          </a:xfrm>
          <a:prstGeom prst="line">
            <a:avLst/>
          </a:prstGeom>
          <a:noFill/>
          <a:ln w="508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505619" y="2121395"/>
            <a:ext cx="8892000" cy="0"/>
          </a:xfrm>
          <a:prstGeom prst="line">
            <a:avLst/>
          </a:prstGeom>
          <a:noFill/>
          <a:ln w="1270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32890" y="478972"/>
            <a:ext cx="8944486" cy="1079829"/>
          </a:xfrm>
        </p:spPr>
        <p:txBody>
          <a:bodyPr anchor="t"/>
          <a:lstStyle>
            <a:lvl1pPr>
              <a:lnSpc>
                <a:spcPts val="4431"/>
              </a:lnSpc>
              <a:defRPr sz="3200" baseline="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Unterseiten Titel DURCH KLICKEN BEARBEITEN </a:t>
            </a:r>
            <a:br>
              <a:rPr lang="de-DE" dirty="0"/>
            </a:br>
            <a:r>
              <a:rPr lang="de-DE" dirty="0"/>
              <a:t>3 Zeilig</a:t>
            </a:r>
          </a:p>
        </p:txBody>
      </p:sp>
    </p:spTree>
    <p:extLst>
      <p:ext uri="{BB962C8B-B14F-4D97-AF65-F5344CB8AC3E}">
        <p14:creationId xmlns:p14="http://schemas.microsoft.com/office/powerpoint/2010/main" val="666645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>
                <a:latin typeface="Frutiger LT Com 45 Light" panose="020B0303030504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8382" y="1255486"/>
            <a:ext cx="8898880" cy="5038683"/>
          </a:xfrm>
        </p:spPr>
        <p:txBody>
          <a:bodyPr/>
          <a:lstStyle>
            <a:lvl1pPr>
              <a:defRPr sz="1800">
                <a:latin typeface="Frutiger LT Com 55 Roman" panose="020B0503030504020204" pitchFamily="34" charset="0"/>
              </a:defRPr>
            </a:lvl1pPr>
            <a:lvl2pPr>
              <a:defRPr sz="1800">
                <a:latin typeface="Frutiger LT Com 55 Roman" panose="020B0503030504020204" pitchFamily="34" charset="0"/>
              </a:defRPr>
            </a:lvl2pPr>
            <a:lvl3pPr>
              <a:defRPr sz="1800">
                <a:latin typeface="Frutiger LT Com 55 Roman" panose="020B0503030504020204" pitchFamily="34" charset="0"/>
              </a:defRPr>
            </a:lvl3pPr>
            <a:lvl4pPr>
              <a:defRPr sz="1800">
                <a:latin typeface="Frutiger LT Com 55 Roman" panose="020B0503030504020204" pitchFamily="34" charset="0"/>
              </a:defRPr>
            </a:lvl4pPr>
            <a:lvl5pPr>
              <a:defRPr sz="1800">
                <a:latin typeface="Frutiger LT Com 55 Roman" panose="020B0503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3582" y="261938"/>
            <a:ext cx="8913680" cy="775833"/>
          </a:xfrm>
        </p:spPr>
        <p:txBody>
          <a:bodyPr/>
          <a:lstStyle>
            <a:lvl1pPr>
              <a:defRPr sz="2000"/>
            </a:lvl1pPr>
          </a:lstStyle>
          <a:p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45 Light"/>
                <a:ea typeface="+mj-ea"/>
                <a:cs typeface="+mj-cs"/>
              </a:rPr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3162" y="1270001"/>
            <a:ext cx="4449838" cy="5002213"/>
          </a:xfrm>
        </p:spPr>
        <p:txBody>
          <a:bodyPr/>
          <a:lstStyle>
            <a:lvl1pPr marL="36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 sz="1800">
                <a:latin typeface="Frutiger 55 Roman" panose="020B0500000000000000" pitchFamily="34" charset="0"/>
              </a:defRPr>
            </a:lvl1pPr>
            <a:lvl2pPr marL="72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800">
                <a:latin typeface="Frutiger 55 Roman" panose="020B0500000000000000" pitchFamily="34" charset="0"/>
              </a:defRPr>
            </a:lvl2pPr>
            <a:lvl3pPr marL="108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800">
                <a:latin typeface="Frutiger 55 Roman" panose="020B0500000000000000" pitchFamily="34" charset="0"/>
              </a:defRPr>
            </a:lvl3pPr>
            <a:lvl4pPr marL="144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800">
                <a:latin typeface="Frutiger 55 Roman" panose="020B0500000000000000" pitchFamily="34" charset="0"/>
              </a:defRPr>
            </a:lvl4pPr>
            <a:lvl5pPr marL="180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800">
                <a:latin typeface="Frutiger 55 Roman" panose="020B0500000000000000" pitchFamily="34" charset="0"/>
              </a:defRPr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70928" y="1277257"/>
            <a:ext cx="4512809" cy="4994956"/>
          </a:xfrm>
        </p:spPr>
        <p:txBody>
          <a:bodyPr/>
          <a:lstStyle>
            <a:lvl1pPr marL="36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 sz="2585"/>
            </a:lvl1pPr>
            <a:lvl2pPr marL="72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2215"/>
            </a:lvl2pPr>
            <a:lvl3pPr marL="108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846"/>
            </a:lvl3pPr>
            <a:lvl4pPr marL="144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662"/>
            </a:lvl4pPr>
            <a:lvl5pPr marL="1800000" marR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de-DE" sz="1846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45 Light"/>
                <a:ea typeface="+mj-ea"/>
                <a:cs typeface="+mj-cs"/>
              </a:rPr>
              <a:t>Mastertitel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130629" y="970384"/>
            <a:ext cx="9614264" cy="5287541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stealth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93582" y="261939"/>
            <a:ext cx="8913680" cy="587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45 Light"/>
                <a:ea typeface="+mj-ea"/>
                <a:cs typeface="+mj-cs"/>
              </a:rPr>
              <a:t>Mastertitelformat bearbeiten</a:t>
            </a:r>
            <a:endParaRPr lang="de-DE" dirty="0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382" y="1233488"/>
            <a:ext cx="8898880" cy="5060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60000" marR="0" lvl="0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179C7D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  <a:ea typeface="+mn-ea"/>
                <a:cs typeface="+mn-cs"/>
              </a:rPr>
              <a:t>Mastertextformat bearbeiten</a:t>
            </a:r>
          </a:p>
          <a:p>
            <a:pPr marL="720000" marR="0" lvl="1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Zweite Ebene</a:t>
            </a:r>
          </a:p>
          <a:p>
            <a:pPr marL="1080000" marR="0" lvl="2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Dritte Ebene</a:t>
            </a:r>
          </a:p>
          <a:p>
            <a:pPr marL="1440000" marR="0" lvl="3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Vierte Ebene</a:t>
            </a:r>
          </a:p>
          <a:p>
            <a:pPr marL="1800000" marR="0" lvl="4" indent="-360000" algn="l" defTabSz="36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A8AFAF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LT Com 55 Roman"/>
              </a:rPr>
              <a:t>Fünfte Ebene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493581" y="6381685"/>
            <a:ext cx="975121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de-DE" sz="800" i="0" dirty="0">
                <a:solidFill>
                  <a:srgbClr val="A8AFAF"/>
                </a:solidFill>
                <a:latin typeface="Frutiger LT Com 55 Roman" pitchFamily="34" charset="0"/>
              </a:rPr>
              <a:t>© Fraunhofer SCS </a:t>
            </a:r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>
            <a:off x="130630" y="6297611"/>
            <a:ext cx="9614261" cy="1"/>
          </a:xfrm>
          <a:prstGeom prst="line">
            <a:avLst/>
          </a:prstGeom>
          <a:noFill/>
          <a:ln w="3175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pic>
        <p:nvPicPr>
          <p:cNvPr id="11" name="Picture 6" descr="iis_rgb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844" y="6368359"/>
            <a:ext cx="151341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124403" y="926059"/>
            <a:ext cx="9614261" cy="1"/>
          </a:xfrm>
          <a:prstGeom prst="line">
            <a:avLst/>
          </a:prstGeom>
          <a:noFill/>
          <a:ln w="31750">
            <a:solidFill>
              <a:srgbClr val="179C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ct val="40000"/>
              </a:spcAft>
              <a:buFont typeface="Wingdings" pitchFamily="2" charset="2"/>
              <a:buNone/>
              <a:defRPr/>
            </a:pPr>
            <a:endParaRPr lang="de-DE" sz="1800" i="0" kern="0">
              <a:solidFill>
                <a:srgbClr val="000000"/>
              </a:solidFill>
              <a:latin typeface="Frutiger LT Com 55 Roman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 userDrawn="1"/>
        </p:nvSpPr>
        <p:spPr bwMode="auto">
          <a:xfrm>
            <a:off x="4341806" y="6366810"/>
            <a:ext cx="95091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defRPr/>
            </a:pPr>
            <a:r>
              <a:rPr lang="de-DE" sz="1200" dirty="0">
                <a:solidFill>
                  <a:srgbClr val="000000"/>
                </a:solidFill>
              </a:rPr>
              <a:t>Page </a:t>
            </a:r>
            <a:fld id="{C37AF444-8BE3-4D12-BCEB-F93A50FCE4D6}" type="slidenum">
              <a:rPr lang="de-DE" sz="120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12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</p:sldLayoutIdLst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5pPr>
      <a:lvl6pPr marL="422041" algn="l" rtl="0" fontAlgn="base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6pPr>
      <a:lvl7pPr marL="844083" algn="l" rtl="0" fontAlgn="base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7pPr>
      <a:lvl8pPr marL="1266124" algn="l" rtl="0" fontAlgn="base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8pPr>
      <a:lvl9pPr marL="1688165" algn="l" rtl="0" fontAlgn="base">
        <a:lnSpc>
          <a:spcPts val="2215"/>
        </a:lnSpc>
        <a:spcBef>
          <a:spcPct val="0"/>
        </a:spcBef>
        <a:spcAft>
          <a:spcPct val="0"/>
        </a:spcAft>
        <a:defRPr sz="1846" b="1">
          <a:solidFill>
            <a:schemeClr val="tx1"/>
          </a:solidFill>
          <a:latin typeface="Arial" pitchFamily="34" charset="0"/>
        </a:defRPr>
      </a:lvl9pPr>
    </p:titleStyle>
    <p:bodyStyle>
      <a:lvl1pPr marL="360000" marR="0" indent="-360000" algn="l" defTabSz="360000" rtl="0" eaLnBrk="1" fontAlgn="base" latinLnBrk="0" hangingPunct="1">
        <a:lnSpc>
          <a:spcPct val="100000"/>
        </a:lnSpc>
        <a:spcBef>
          <a:spcPct val="0"/>
        </a:spcBef>
        <a:spcAft>
          <a:spcPts val="900"/>
        </a:spcAft>
        <a:buClr>
          <a:srgbClr val="179C7D"/>
        </a:buClr>
        <a:buSzTx/>
        <a:buFont typeface="Wingdings" pitchFamily="2" charset="2"/>
        <a:buChar char="n"/>
        <a:tabLst/>
        <a:defRPr sz="1846">
          <a:solidFill>
            <a:schemeClr val="tx1"/>
          </a:solidFill>
          <a:latin typeface="+mn-lt"/>
          <a:ea typeface="+mn-ea"/>
          <a:cs typeface="+mn-cs"/>
        </a:defRPr>
      </a:lvl1pPr>
      <a:lvl2pPr marL="720000" marR="0" indent="-360000" algn="l" defTabSz="360000" rtl="0" eaLnBrk="1" fontAlgn="base" latinLnBrk="0" hangingPunct="1">
        <a:lnSpc>
          <a:spcPct val="100000"/>
        </a:lnSpc>
        <a:spcBef>
          <a:spcPct val="0"/>
        </a:spcBef>
        <a:spcAft>
          <a:spcPts val="900"/>
        </a:spcAft>
        <a:buClr>
          <a:srgbClr val="A8AFAF"/>
        </a:buClr>
        <a:buSzTx/>
        <a:buFont typeface="Wingdings" pitchFamily="2" charset="2"/>
        <a:buChar char="n"/>
        <a:tabLst/>
        <a:defRPr sz="1846">
          <a:solidFill>
            <a:schemeClr val="tx1"/>
          </a:solidFill>
          <a:latin typeface="+mn-lt"/>
        </a:defRPr>
      </a:lvl2pPr>
      <a:lvl3pPr marL="1080000" marR="0" indent="-360000" algn="l" defTabSz="360000" rtl="0" eaLnBrk="1" fontAlgn="base" latinLnBrk="0" hangingPunct="1">
        <a:lnSpc>
          <a:spcPct val="100000"/>
        </a:lnSpc>
        <a:spcBef>
          <a:spcPct val="0"/>
        </a:spcBef>
        <a:spcAft>
          <a:spcPts val="900"/>
        </a:spcAft>
        <a:buClr>
          <a:srgbClr val="A8AFAF"/>
        </a:buClr>
        <a:buSzTx/>
        <a:buFont typeface="Wingdings" pitchFamily="2" charset="2"/>
        <a:buChar char="n"/>
        <a:tabLst/>
        <a:defRPr sz="1846">
          <a:solidFill>
            <a:schemeClr val="tx1"/>
          </a:solidFill>
          <a:latin typeface="+mn-lt"/>
        </a:defRPr>
      </a:lvl3pPr>
      <a:lvl4pPr marL="1440000" marR="0" indent="-360000" algn="l" defTabSz="360000" rtl="0" eaLnBrk="1" fontAlgn="base" latinLnBrk="0" hangingPunct="1">
        <a:lnSpc>
          <a:spcPct val="100000"/>
        </a:lnSpc>
        <a:spcBef>
          <a:spcPct val="0"/>
        </a:spcBef>
        <a:spcAft>
          <a:spcPts val="900"/>
        </a:spcAft>
        <a:buClr>
          <a:srgbClr val="A8AFAF"/>
        </a:buClr>
        <a:buSzTx/>
        <a:buFont typeface="Wingdings" pitchFamily="2" charset="2"/>
        <a:buChar char="n"/>
        <a:tabLst/>
        <a:defRPr sz="1846">
          <a:solidFill>
            <a:schemeClr val="tx1"/>
          </a:solidFill>
          <a:latin typeface="+mn-lt"/>
        </a:defRPr>
      </a:lvl4pPr>
      <a:lvl5pPr marL="1800000" marR="0" indent="-360000" algn="l" defTabSz="360000" rtl="0" eaLnBrk="1" fontAlgn="base" latinLnBrk="0" hangingPunct="1">
        <a:lnSpc>
          <a:spcPct val="100000"/>
        </a:lnSpc>
        <a:spcBef>
          <a:spcPct val="0"/>
        </a:spcBef>
        <a:spcAft>
          <a:spcPts val="900"/>
        </a:spcAft>
        <a:buClr>
          <a:srgbClr val="A8AFAF"/>
        </a:buClr>
        <a:buSzTx/>
        <a:buFont typeface="Wingdings" pitchFamily="2" charset="2"/>
        <a:buChar char="n"/>
        <a:tabLst/>
        <a:defRPr sz="1846">
          <a:solidFill>
            <a:schemeClr val="tx1"/>
          </a:solidFill>
          <a:latin typeface="+mn-lt"/>
        </a:defRPr>
      </a:lvl5pPr>
      <a:lvl6pPr marL="1126909" indent="-174386" algn="l" rtl="0" fontAlgn="base">
        <a:lnSpc>
          <a:spcPts val="2215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846">
          <a:solidFill>
            <a:schemeClr val="tx1"/>
          </a:solidFill>
          <a:latin typeface="+mn-lt"/>
        </a:defRPr>
      </a:lvl6pPr>
      <a:lvl7pPr marL="1548951" indent="-174386" algn="l" rtl="0" fontAlgn="base">
        <a:lnSpc>
          <a:spcPts val="2215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846">
          <a:solidFill>
            <a:schemeClr val="tx1"/>
          </a:solidFill>
          <a:latin typeface="+mn-lt"/>
        </a:defRPr>
      </a:lvl7pPr>
      <a:lvl8pPr marL="1970992" indent="-174386" algn="l" rtl="0" fontAlgn="base">
        <a:lnSpc>
          <a:spcPts val="2215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846">
          <a:solidFill>
            <a:schemeClr val="tx1"/>
          </a:solidFill>
          <a:latin typeface="+mn-lt"/>
        </a:defRPr>
      </a:lvl8pPr>
      <a:lvl9pPr marL="2393033" indent="-174386" algn="l" rtl="0" fontAlgn="base">
        <a:lnSpc>
          <a:spcPts val="2215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846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hyperlink" Target="mailto:hans.georg.zimmermann@scs.fraunhofer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7166" y="242415"/>
            <a:ext cx="9454509" cy="53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ts val="2400"/>
              </a:lnSpc>
            </a:pPr>
            <a:r>
              <a:rPr lang="en-US" altLang="de-DE" sz="2000" b="1" i="0" dirty="0"/>
              <a:t>  CV:  Dr. Hans Georg Zimmermann, Chief Scientist</a:t>
            </a:r>
            <a:r>
              <a:rPr lang="en-US" altLang="de-DE" b="1" i="0" dirty="0"/>
              <a:t> at</a:t>
            </a:r>
            <a:r>
              <a:rPr lang="en-US" altLang="de-DE" sz="2000" b="1" i="0" dirty="0"/>
              <a:t> Fraunhofer IIS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270" y="1105074"/>
            <a:ext cx="2557099" cy="1700471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3041320" y="965498"/>
            <a:ext cx="6649220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udy of Mathematics, Computer Science and Economics at University of Bonn (1982 </a:t>
            </a:r>
            <a:r>
              <a:rPr lang="en-US" sz="1700" i="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plom</a:t>
            </a: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in Mathematics - Control Theory / 1987 PhD in Mathematical Finance - Game Theory).</a:t>
            </a:r>
            <a:endParaRPr lang="de-DE" sz="1700" i="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987- Nov. 2017 at Siemens Corporate Technology in Munich (one of the founders of the Neural Network research at Siemens, since 2000 </a:t>
            </a:r>
            <a:r>
              <a:rPr lang="en-US" sz="17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enior Principal Research Scientist </a:t>
            </a: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or Artificial Intelligence, Neural Networks and Forecasting).</a:t>
            </a:r>
            <a:endParaRPr lang="de-DE" sz="1700" i="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ince Dec. 2017 at Fraunhofer IIS SCS Analytics in </a:t>
            </a:r>
            <a:r>
              <a:rPr lang="en-US" sz="1700" i="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ürnberg</a:t>
            </a: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b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7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hief Scientist </a:t>
            </a: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or Artificial Intelligence and Data Analytics at Fraunhofer and joint research with Siemens Corporate Technology. </a:t>
            </a:r>
          </a:p>
          <a:p>
            <a:pPr>
              <a:spcAft>
                <a:spcPts val="800"/>
              </a:spcAft>
            </a:pPr>
            <a:r>
              <a:rPr lang="en-US" altLang="de-DE" sz="1700" i="0" dirty="0">
                <a:latin typeface="+mn-lt"/>
              </a:rPr>
              <a:t>Member of the Scientific Advisory Board of the German Society of Operations Research (GOR); Member of the Industry Advisory Board of the International Neural Network Society (INNS); Member of the German Mathematical Society (DMV)</a:t>
            </a:r>
            <a:endParaRPr lang="en-US" sz="1700" i="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ssociate Research Fellow of the African Institute for Mathematical Sciences (AIMS) in Cape Town, South Africa.</a:t>
            </a:r>
          </a:p>
          <a:p>
            <a:pPr>
              <a:spcAft>
                <a:spcPts val="800"/>
              </a:spcAft>
            </a:pP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ans.georg.zimmermann@scs.fraunhofer.de</a:t>
            </a:r>
            <a:b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ans_georg.zimmermann.ext@siemens.com</a:t>
            </a:r>
          </a:p>
        </p:txBody>
      </p:sp>
      <p:pic>
        <p:nvPicPr>
          <p:cNvPr id="16" name="Picture 3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70" y="4585993"/>
            <a:ext cx="2581647" cy="1537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86166" y="2848127"/>
            <a:ext cx="2418419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700" b="1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search Interests</a:t>
            </a:r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  Artificial Intelligence, </a:t>
            </a:r>
          </a:p>
          <a:p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  Neural Networks, </a:t>
            </a:r>
          </a:p>
          <a:p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  Data Analytics,</a:t>
            </a:r>
          </a:p>
          <a:p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  Forecasting,</a:t>
            </a:r>
          </a:p>
          <a:p>
            <a:r>
              <a:rPr lang="en-US" sz="1700" i="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  Optimal Control.</a:t>
            </a:r>
            <a:endParaRPr lang="de-DE" sz="1700" i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729827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XJbPor8kCnC4f0arKu1g"/>
</p:tagLst>
</file>

<file path=ppt/theme/theme1.xml><?xml version="1.0" encoding="utf-8"?>
<a:theme xmlns:a="http://schemas.openxmlformats.org/drawingml/2006/main" name="7_sie_ppt_basic_gray_DE">
  <a:themeElements>
    <a:clrScheme name="sie_ppt_basic_gray_DE 1">
      <a:dk1>
        <a:srgbClr val="000000"/>
      </a:dk1>
      <a:lt1>
        <a:srgbClr val="D0D3DA"/>
      </a:lt1>
      <a:dk2>
        <a:srgbClr val="000000"/>
      </a:dk2>
      <a:lt2>
        <a:srgbClr val="FFFFFF"/>
      </a:lt2>
      <a:accent1>
        <a:srgbClr val="939DA9"/>
      </a:accent1>
      <a:accent2>
        <a:srgbClr val="FF9900"/>
      </a:accent2>
      <a:accent3>
        <a:srgbClr val="E4E6EA"/>
      </a:accent3>
      <a:accent4>
        <a:srgbClr val="000000"/>
      </a:accent4>
      <a:accent5>
        <a:srgbClr val="C8CCD1"/>
      </a:accent5>
      <a:accent6>
        <a:srgbClr val="E78A00"/>
      </a:accent6>
      <a:hlink>
        <a:srgbClr val="6699CC"/>
      </a:hlink>
      <a:folHlink>
        <a:srgbClr val="336699"/>
      </a:folHlink>
    </a:clrScheme>
    <a:fontScheme name="sie_ppt_basic_gray_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FF"/>
          </a:solidFill>
          <a:prstDash val="solid"/>
          <a:round/>
          <a:headEnd type="stealth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FF"/>
          </a:solidFill>
          <a:prstDash val="solid"/>
          <a:round/>
          <a:headEnd type="stealth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sie_ppt_basic_gray_DE 1">
        <a:dk1>
          <a:srgbClr val="000000"/>
        </a:dk1>
        <a:lt1>
          <a:srgbClr val="D0D3DA"/>
        </a:lt1>
        <a:dk2>
          <a:srgbClr val="000000"/>
        </a:dk2>
        <a:lt2>
          <a:srgbClr val="FFFFFF"/>
        </a:lt2>
        <a:accent1>
          <a:srgbClr val="939DA9"/>
        </a:accent1>
        <a:accent2>
          <a:srgbClr val="FF9900"/>
        </a:accent2>
        <a:accent3>
          <a:srgbClr val="E4E6EA"/>
        </a:accent3>
        <a:accent4>
          <a:srgbClr val="000000"/>
        </a:accent4>
        <a:accent5>
          <a:srgbClr val="C8CCD1"/>
        </a:accent5>
        <a:accent6>
          <a:srgbClr val="E78A00"/>
        </a:accent6>
        <a:hlink>
          <a:srgbClr val="6699CC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9</Pages>
  <Words>116</Words>
  <Application>Microsoft Office PowerPoint</Application>
  <PresentationFormat>A4-Papier (210 x 297 mm)</PresentationFormat>
  <Paragraphs>13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Frutiger 55 Roman</vt:lpstr>
      <vt:lpstr>Frutiger LT Com 45 Light</vt:lpstr>
      <vt:lpstr>Frutiger LT Com 55 Roman</vt:lpstr>
      <vt:lpstr>Helvetica</vt:lpstr>
      <vt:lpstr>Times New Roman</vt:lpstr>
      <vt:lpstr>UniversS 47 CondensedLight</vt:lpstr>
      <vt:lpstr>Wingdings</vt:lpstr>
      <vt:lpstr>7_sie_ppt_basic_gray_D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in Folientitel</dc:title>
  <dc:creator>K. Heesche</dc:creator>
  <cp:lastModifiedBy>Zimmermann, Hans-Georg (ext) (CT RDA BAM LSY-DE)</cp:lastModifiedBy>
  <cp:revision>5077</cp:revision>
  <cp:lastPrinted>2018-01-12T14:31:42Z</cp:lastPrinted>
  <dcterms:created xsi:type="dcterms:W3CDTF">1998-06-16T14:44:44Z</dcterms:created>
  <dcterms:modified xsi:type="dcterms:W3CDTF">2019-04-09T08:17:40Z</dcterms:modified>
</cp:coreProperties>
</file>